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7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8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9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6" r:id="rId5"/>
    <p:sldMasterId id="2147483747" r:id="rId6"/>
    <p:sldMasterId id="2147483810" r:id="rId7"/>
    <p:sldMasterId id="2147483876" r:id="rId8"/>
    <p:sldMasterId id="2147483887" r:id="rId9"/>
    <p:sldMasterId id="2147483959" r:id="rId10"/>
    <p:sldMasterId id="2147484087" r:id="rId11"/>
    <p:sldMasterId id="2147484099" r:id="rId12"/>
    <p:sldMasterId id="2147484114" r:id="rId13"/>
  </p:sldMasterIdLst>
  <p:notesMasterIdLst>
    <p:notesMasterId r:id="rId31"/>
  </p:notesMasterIdLst>
  <p:sldIdLst>
    <p:sldId id="289" r:id="rId14"/>
    <p:sldId id="6014" r:id="rId15"/>
    <p:sldId id="6029" r:id="rId16"/>
    <p:sldId id="6031" r:id="rId17"/>
    <p:sldId id="6025" r:id="rId18"/>
    <p:sldId id="6024" r:id="rId19"/>
    <p:sldId id="6023" r:id="rId20"/>
    <p:sldId id="6022" r:id="rId21"/>
    <p:sldId id="6021" r:id="rId22"/>
    <p:sldId id="6020" r:id="rId23"/>
    <p:sldId id="6019" r:id="rId24"/>
    <p:sldId id="6018" r:id="rId25"/>
    <p:sldId id="6017" r:id="rId26"/>
    <p:sldId id="6016" r:id="rId27"/>
    <p:sldId id="6015" r:id="rId28"/>
    <p:sldId id="6030" r:id="rId29"/>
    <p:sldId id="325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F9493D-A4D8-9B48-CD8E-398124593EBD}" name="Wei Jing TEY" initials="WJT" userId="S::weijing.tey@kereval.com::38449325-11be-4fce-8612-3a6e80ad0dab" providerId="AD"/>
  <p188:author id="{A24C1877-3A4A-154E-FF9A-B41670159077}" name="HERMANS Alexander (DIGIT-EXT)" initials="H(" userId="S::alexander.hermans@ext.ec.europa.eu::7c993837-a87c-46e7-9cfc-1c23ec9b69ac" providerId="AD"/>
  <p188:author id="{FAAA21AF-12C0-2EC7-2FDF-9F92F76631C0}" name="DIMITRIOU Jerry (DIGIT-EXT)" initials="DJ(E" userId="DIMITRIOU Jerry (DIGIT-EXT)" providerId="None"/>
  <p188:author id="{DA2D7CD7-D327-543F-8F61-DAEFF9360C7D}" name="HERMANS Alexander (DIGIT-EXT)" initials="HA(E" userId="HERMANS Alexander (DIGIT-EXT)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A"/>
    <a:srgbClr val="FBC11D"/>
    <a:srgbClr val="004494"/>
    <a:srgbClr val="842DB5"/>
    <a:srgbClr val="D0DAEA"/>
    <a:srgbClr val="E9EDF5"/>
    <a:srgbClr val="003C8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8F9A93-4881-41EC-BE7B-94E260E45026}" v="29" dt="2023-09-12T12:36:29.096"/>
    <p1510:client id="{79A769AA-EB74-4BC7-8423-8484EF3C62B4}" v="60" dt="2023-09-11T15:38:43.681"/>
    <p1510:client id="{8ED8D609-9012-4E52-9B7B-80033E7B83C0}" v="100" dt="2023-09-11T15:23:27.737"/>
    <p1510:client id="{C66DD2D0-8F3D-40A6-B522-D27777155A47}" v="16" dt="2023-09-11T15:07:52.4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ošec Michal" userId="S::michal.janosec_autocont.cz#ext#@eceuropaeu.onmicrosoft.com::f003a980-2871-4d3c-98ba-6af79020b25a" providerId="AD" clId="Web-{BC75E77A-66A3-4E7C-B867-4F49470014C1}"/>
    <pc:docChg chg="delSld">
      <pc:chgData name="Janošec Michal" userId="S::michal.janosec_autocont.cz#ext#@eceuropaeu.onmicrosoft.com::f003a980-2871-4d3c-98ba-6af79020b25a" providerId="AD" clId="Web-{BC75E77A-66A3-4E7C-B867-4F49470014C1}" dt="2023-04-12T12:34:32.142" v="0"/>
      <pc:docMkLst>
        <pc:docMk/>
      </pc:docMkLst>
      <pc:sldChg chg="del">
        <pc:chgData name="Janošec Michal" userId="S::michal.janosec_autocont.cz#ext#@eceuropaeu.onmicrosoft.com::f003a980-2871-4d3c-98ba-6af79020b25a" providerId="AD" clId="Web-{BC75E77A-66A3-4E7C-B867-4F49470014C1}" dt="2023-04-12T12:34:32.142" v="0"/>
        <pc:sldMkLst>
          <pc:docMk/>
          <pc:sldMk cId="2752945779" sldId="6031"/>
        </pc:sldMkLst>
      </pc:sldChg>
    </pc:docChg>
  </pc:docChgLst>
  <pc:docChgLst>
    <pc:chgData name="simon.bertlin" userId="S::simon.bertlin_digg.se#ext#@eceuropaeu.onmicrosoft.com::c76c2e43-2daf-40e5-8059-ec4f0832d5f2" providerId="AD" clId="Web-{E7AF2842-F627-2A04-E509-F13D76B2399C}"/>
    <pc:docChg chg="modSld">
      <pc:chgData name="simon.bertlin" userId="S::simon.bertlin_digg.se#ext#@eceuropaeu.onmicrosoft.com::c76c2e43-2daf-40e5-8059-ec4f0832d5f2" providerId="AD" clId="Web-{E7AF2842-F627-2A04-E509-F13D76B2399C}" dt="2023-06-14T06:36:45.033" v="1" actId="20577"/>
      <pc:docMkLst>
        <pc:docMk/>
      </pc:docMkLst>
      <pc:sldChg chg="modSp">
        <pc:chgData name="simon.bertlin" userId="S::simon.bertlin_digg.se#ext#@eceuropaeu.onmicrosoft.com::c76c2e43-2daf-40e5-8059-ec4f0832d5f2" providerId="AD" clId="Web-{E7AF2842-F627-2A04-E509-F13D76B2399C}" dt="2023-06-14T06:36:45.033" v="1" actId="20577"/>
        <pc:sldMkLst>
          <pc:docMk/>
          <pc:sldMk cId="3019652492" sldId="6025"/>
        </pc:sldMkLst>
        <pc:spChg chg="mod">
          <ac:chgData name="simon.bertlin" userId="S::simon.bertlin_digg.se#ext#@eceuropaeu.onmicrosoft.com::c76c2e43-2daf-40e5-8059-ec4f0832d5f2" providerId="AD" clId="Web-{E7AF2842-F627-2A04-E509-F13D76B2399C}" dt="2023-06-14T06:36:45.033" v="1" actId="20577"/>
          <ac:spMkLst>
            <pc:docMk/>
            <pc:sldMk cId="3019652492" sldId="6025"/>
            <ac:spMk id="26" creationId="{481624A7-C8D8-4F22-B4CD-101B877CAB37}"/>
          </ac:spMkLst>
        </pc:spChg>
      </pc:sldChg>
    </pc:docChg>
  </pc:docChgLst>
  <pc:docChgLst>
    <pc:chgData name="DIMITRIOU Jerry (DIGIT-EXT)" userId="475b1b0c-7660-4131-9326-a9f0709a5665" providerId="ADAL" clId="{C66DD2D0-8F3D-40A6-B522-D27777155A47}"/>
    <pc:docChg chg="undo custSel addSld modSld">
      <pc:chgData name="DIMITRIOU Jerry (DIGIT-EXT)" userId="475b1b0c-7660-4131-9326-a9f0709a5665" providerId="ADAL" clId="{C66DD2D0-8F3D-40A6-B522-D27777155A47}" dt="2023-09-11T15:07:52.476" v="129"/>
      <pc:docMkLst>
        <pc:docMk/>
      </pc:docMkLst>
      <pc:sldChg chg="modSp mod">
        <pc:chgData name="DIMITRIOU Jerry (DIGIT-EXT)" userId="475b1b0c-7660-4131-9326-a9f0709a5665" providerId="ADAL" clId="{C66DD2D0-8F3D-40A6-B522-D27777155A47}" dt="2023-09-11T14:57:01.317" v="35" actId="20577"/>
        <pc:sldMkLst>
          <pc:docMk/>
          <pc:sldMk cId="917797028" sldId="6020"/>
        </pc:sldMkLst>
        <pc:spChg chg="mod">
          <ac:chgData name="DIMITRIOU Jerry (DIGIT-EXT)" userId="475b1b0c-7660-4131-9326-a9f0709a5665" providerId="ADAL" clId="{C66DD2D0-8F3D-40A6-B522-D27777155A47}" dt="2023-09-11T14:57:01.317" v="35" actId="20577"/>
          <ac:spMkLst>
            <pc:docMk/>
            <pc:sldMk cId="917797028" sldId="6020"/>
            <ac:spMk id="26" creationId="{481624A7-C8D8-4F22-B4CD-101B877CAB37}"/>
          </ac:spMkLst>
        </pc:spChg>
      </pc:sldChg>
      <pc:sldChg chg="modSp mod">
        <pc:chgData name="DIMITRIOU Jerry (DIGIT-EXT)" userId="475b1b0c-7660-4131-9326-a9f0709a5665" providerId="ADAL" clId="{C66DD2D0-8F3D-40A6-B522-D27777155A47}" dt="2023-09-11T14:55:29.710" v="5" actId="20577"/>
        <pc:sldMkLst>
          <pc:docMk/>
          <pc:sldMk cId="2221397774" sldId="6021"/>
        </pc:sldMkLst>
        <pc:spChg chg="mod">
          <ac:chgData name="DIMITRIOU Jerry (DIGIT-EXT)" userId="475b1b0c-7660-4131-9326-a9f0709a5665" providerId="ADAL" clId="{C66DD2D0-8F3D-40A6-B522-D27777155A47}" dt="2023-09-11T14:55:29.710" v="5" actId="20577"/>
          <ac:spMkLst>
            <pc:docMk/>
            <pc:sldMk cId="2221397774" sldId="6021"/>
            <ac:spMk id="26" creationId="{481624A7-C8D8-4F22-B4CD-101B877CAB37}"/>
          </ac:spMkLst>
        </pc:spChg>
      </pc:sldChg>
      <pc:sldChg chg="addSp delSp modSp add mod">
        <pc:chgData name="DIMITRIOU Jerry (DIGIT-EXT)" userId="475b1b0c-7660-4131-9326-a9f0709a5665" providerId="ADAL" clId="{C66DD2D0-8F3D-40A6-B522-D27777155A47}" dt="2023-09-11T15:07:52.476" v="129"/>
        <pc:sldMkLst>
          <pc:docMk/>
          <pc:sldMk cId="248567613" sldId="6030"/>
        </pc:sldMkLst>
        <pc:spChg chg="mod">
          <ac:chgData name="DIMITRIOU Jerry (DIGIT-EXT)" userId="475b1b0c-7660-4131-9326-a9f0709a5665" providerId="ADAL" clId="{C66DD2D0-8F3D-40A6-B522-D27777155A47}" dt="2023-09-11T15:00:46.391" v="68" actId="20577"/>
          <ac:spMkLst>
            <pc:docMk/>
            <pc:sldMk cId="248567613" sldId="6030"/>
            <ac:spMk id="2" creationId="{00000000-0000-0000-0000-000000000000}"/>
          </ac:spMkLst>
        </pc:spChg>
        <pc:spChg chg="add del">
          <ac:chgData name="DIMITRIOU Jerry (DIGIT-EXT)" userId="475b1b0c-7660-4131-9326-a9f0709a5665" providerId="ADAL" clId="{C66DD2D0-8F3D-40A6-B522-D27777155A47}" dt="2023-09-11T15:01:55.359" v="91"/>
          <ac:spMkLst>
            <pc:docMk/>
            <pc:sldMk cId="248567613" sldId="6030"/>
            <ac:spMk id="4" creationId="{21A8DEEE-C2D1-71E0-67D5-65B38BA28619}"/>
          </ac:spMkLst>
        </pc:spChg>
        <pc:spChg chg="add del">
          <ac:chgData name="DIMITRIOU Jerry (DIGIT-EXT)" userId="475b1b0c-7660-4131-9326-a9f0709a5665" providerId="ADAL" clId="{C66DD2D0-8F3D-40A6-B522-D27777155A47}" dt="2023-09-11T15:06:06.960" v="104"/>
          <ac:spMkLst>
            <pc:docMk/>
            <pc:sldMk cId="248567613" sldId="6030"/>
            <ac:spMk id="5" creationId="{457DAB95-568D-7C1D-509D-AA1725E7BDB1}"/>
          </ac:spMkLst>
        </pc:spChg>
        <pc:spChg chg="add del">
          <ac:chgData name="DIMITRIOU Jerry (DIGIT-EXT)" userId="475b1b0c-7660-4131-9326-a9f0709a5665" providerId="ADAL" clId="{C66DD2D0-8F3D-40A6-B522-D27777155A47}" dt="2023-09-11T15:06:51.824" v="113"/>
          <ac:spMkLst>
            <pc:docMk/>
            <pc:sldMk cId="248567613" sldId="6030"/>
            <ac:spMk id="7" creationId="{BE7FCB4D-C92A-9845-5191-72085D0D6C1E}"/>
          </ac:spMkLst>
        </pc:spChg>
        <pc:spChg chg="add del">
          <ac:chgData name="DIMITRIOU Jerry (DIGIT-EXT)" userId="475b1b0c-7660-4131-9326-a9f0709a5665" providerId="ADAL" clId="{C66DD2D0-8F3D-40A6-B522-D27777155A47}" dt="2023-09-11T15:07:50.454" v="127"/>
          <ac:spMkLst>
            <pc:docMk/>
            <pc:sldMk cId="248567613" sldId="6030"/>
            <ac:spMk id="8" creationId="{A721CD09-56F5-84F7-A1C3-968D3502D044}"/>
          </ac:spMkLst>
        </pc:spChg>
        <pc:spChg chg="mod">
          <ac:chgData name="DIMITRIOU Jerry (DIGIT-EXT)" userId="475b1b0c-7660-4131-9326-a9f0709a5665" providerId="ADAL" clId="{C66DD2D0-8F3D-40A6-B522-D27777155A47}" dt="2023-09-11T15:07:52.476" v="129"/>
          <ac:spMkLst>
            <pc:docMk/>
            <pc:sldMk cId="248567613" sldId="6030"/>
            <ac:spMk id="26" creationId="{481624A7-C8D8-4F22-B4CD-101B877CAB37}"/>
          </ac:spMkLst>
        </pc:spChg>
      </pc:sldChg>
    </pc:docChg>
  </pc:docChgLst>
  <pc:docChgLst>
    <pc:chgData name="DANIELS Maarten (DIGIT-EXT)" userId="S::maarten.daniels@ext.ec.europa.eu::57f753d3-6ee6-4ac1-b8be-78c2dea9345f" providerId="AD" clId="Web-{79A769AA-EB74-4BC7-8423-8484EF3C62B4}"/>
    <pc:docChg chg="modSld">
      <pc:chgData name="DANIELS Maarten (DIGIT-EXT)" userId="S::maarten.daniels@ext.ec.europa.eu::57f753d3-6ee6-4ac1-b8be-78c2dea9345f" providerId="AD" clId="Web-{79A769AA-EB74-4BC7-8423-8484EF3C62B4}" dt="2023-09-11T15:38:43.681" v="57" actId="20577"/>
      <pc:docMkLst>
        <pc:docMk/>
      </pc:docMkLst>
      <pc:sldChg chg="modSp">
        <pc:chgData name="DANIELS Maarten (DIGIT-EXT)" userId="S::maarten.daniels@ext.ec.europa.eu::57f753d3-6ee6-4ac1-b8be-78c2dea9345f" providerId="AD" clId="Web-{79A769AA-EB74-4BC7-8423-8484EF3C62B4}" dt="2023-09-11T15:35:08.220" v="18" actId="20577"/>
        <pc:sldMkLst>
          <pc:docMk/>
          <pc:sldMk cId="2484446638" sldId="6015"/>
        </pc:sldMkLst>
        <pc:spChg chg="mod">
          <ac:chgData name="DANIELS Maarten (DIGIT-EXT)" userId="S::maarten.daniels@ext.ec.europa.eu::57f753d3-6ee6-4ac1-b8be-78c2dea9345f" providerId="AD" clId="Web-{79A769AA-EB74-4BC7-8423-8484EF3C62B4}" dt="2023-09-11T15:35:08.220" v="18" actId="20577"/>
          <ac:spMkLst>
            <pc:docMk/>
            <pc:sldMk cId="2484446638" sldId="6015"/>
            <ac:spMk id="26" creationId="{481624A7-C8D8-4F22-B4CD-101B877CAB37}"/>
          </ac:spMkLst>
        </pc:spChg>
      </pc:sldChg>
      <pc:sldChg chg="modSp">
        <pc:chgData name="DANIELS Maarten (DIGIT-EXT)" userId="S::maarten.daniels@ext.ec.europa.eu::57f753d3-6ee6-4ac1-b8be-78c2dea9345f" providerId="AD" clId="Web-{79A769AA-EB74-4BC7-8423-8484EF3C62B4}" dt="2023-09-11T15:37:32.600" v="38" actId="20577"/>
        <pc:sldMkLst>
          <pc:docMk/>
          <pc:sldMk cId="917797028" sldId="6020"/>
        </pc:sldMkLst>
        <pc:spChg chg="mod">
          <ac:chgData name="DANIELS Maarten (DIGIT-EXT)" userId="S::maarten.daniels@ext.ec.europa.eu::57f753d3-6ee6-4ac1-b8be-78c2dea9345f" providerId="AD" clId="Web-{79A769AA-EB74-4BC7-8423-8484EF3C62B4}" dt="2023-09-11T15:37:32.600" v="38" actId="20577"/>
          <ac:spMkLst>
            <pc:docMk/>
            <pc:sldMk cId="917797028" sldId="6020"/>
            <ac:spMk id="26" creationId="{481624A7-C8D8-4F22-B4CD-101B877CAB37}"/>
          </ac:spMkLst>
        </pc:spChg>
      </pc:sldChg>
      <pc:sldChg chg="modSp">
        <pc:chgData name="DANIELS Maarten (DIGIT-EXT)" userId="S::maarten.daniels@ext.ec.europa.eu::57f753d3-6ee6-4ac1-b8be-78c2dea9345f" providerId="AD" clId="Web-{79A769AA-EB74-4BC7-8423-8484EF3C62B4}" dt="2023-09-11T15:37:18.944" v="36" actId="20577"/>
        <pc:sldMkLst>
          <pc:docMk/>
          <pc:sldMk cId="2221397774" sldId="6021"/>
        </pc:sldMkLst>
        <pc:spChg chg="mod">
          <ac:chgData name="DANIELS Maarten (DIGIT-EXT)" userId="S::maarten.daniels@ext.ec.europa.eu::57f753d3-6ee6-4ac1-b8be-78c2dea9345f" providerId="AD" clId="Web-{79A769AA-EB74-4BC7-8423-8484EF3C62B4}" dt="2023-09-11T15:37:18.944" v="36" actId="20577"/>
          <ac:spMkLst>
            <pc:docMk/>
            <pc:sldMk cId="2221397774" sldId="6021"/>
            <ac:spMk id="26" creationId="{481624A7-C8D8-4F22-B4CD-101B877CAB37}"/>
          </ac:spMkLst>
        </pc:spChg>
      </pc:sldChg>
      <pc:sldChg chg="modSp">
        <pc:chgData name="DANIELS Maarten (DIGIT-EXT)" userId="S::maarten.daniels@ext.ec.europa.eu::57f753d3-6ee6-4ac1-b8be-78c2dea9345f" providerId="AD" clId="Web-{79A769AA-EB74-4BC7-8423-8484EF3C62B4}" dt="2023-09-11T15:38:43.681" v="57" actId="20577"/>
        <pc:sldMkLst>
          <pc:docMk/>
          <pc:sldMk cId="248567613" sldId="6030"/>
        </pc:sldMkLst>
        <pc:spChg chg="mod">
          <ac:chgData name="DANIELS Maarten (DIGIT-EXT)" userId="S::maarten.daniels@ext.ec.europa.eu::57f753d3-6ee6-4ac1-b8be-78c2dea9345f" providerId="AD" clId="Web-{79A769AA-EB74-4BC7-8423-8484EF3C62B4}" dt="2023-09-11T15:38:43.681" v="57" actId="20577"/>
          <ac:spMkLst>
            <pc:docMk/>
            <pc:sldMk cId="248567613" sldId="6030"/>
            <ac:spMk id="26" creationId="{481624A7-C8D8-4F22-B4CD-101B877CAB37}"/>
          </ac:spMkLst>
        </pc:spChg>
      </pc:sldChg>
      <pc:sldChg chg="modSp">
        <pc:chgData name="DANIELS Maarten (DIGIT-EXT)" userId="S::maarten.daniels@ext.ec.europa.eu::57f753d3-6ee6-4ac1-b8be-78c2dea9345f" providerId="AD" clId="Web-{79A769AA-EB74-4BC7-8423-8484EF3C62B4}" dt="2023-09-11T15:36:48.943" v="29" actId="20577"/>
        <pc:sldMkLst>
          <pc:docMk/>
          <pc:sldMk cId="516955782" sldId="6031"/>
        </pc:sldMkLst>
        <pc:spChg chg="mod">
          <ac:chgData name="DANIELS Maarten (DIGIT-EXT)" userId="S::maarten.daniels@ext.ec.europa.eu::57f753d3-6ee6-4ac1-b8be-78c2dea9345f" providerId="AD" clId="Web-{79A769AA-EB74-4BC7-8423-8484EF3C62B4}" dt="2023-09-11T15:36:48.943" v="29" actId="20577"/>
          <ac:spMkLst>
            <pc:docMk/>
            <pc:sldMk cId="516955782" sldId="6031"/>
            <ac:spMk id="26" creationId="{481624A7-C8D8-4F22-B4CD-101B877CAB37}"/>
          </ac:spMkLst>
        </pc:spChg>
      </pc:sldChg>
    </pc:docChg>
  </pc:docChgLst>
  <pc:docChgLst>
    <pc:chgData name="DANIELS Maarten (DIGIT-EXT)" userId="S::maarten.daniels@ext.ec.europa.eu::57f753d3-6ee6-4ac1-b8be-78c2dea9345f" providerId="AD" clId="Web-{8ED8D609-9012-4E52-9B7B-80033E7B83C0}"/>
    <pc:docChg chg="addSld modSld">
      <pc:chgData name="DANIELS Maarten (DIGIT-EXT)" userId="S::maarten.daniels@ext.ec.europa.eu::57f753d3-6ee6-4ac1-b8be-78c2dea9345f" providerId="AD" clId="Web-{8ED8D609-9012-4E52-9B7B-80033E7B83C0}" dt="2023-09-11T15:23:24.002" v="93" actId="20577"/>
      <pc:docMkLst>
        <pc:docMk/>
      </pc:docMkLst>
      <pc:sldChg chg="modSp">
        <pc:chgData name="DANIELS Maarten (DIGIT-EXT)" userId="S::maarten.daniels@ext.ec.europa.eu::57f753d3-6ee6-4ac1-b8be-78c2dea9345f" providerId="AD" clId="Web-{8ED8D609-9012-4E52-9B7B-80033E7B83C0}" dt="2023-09-11T15:23:24.002" v="93" actId="20577"/>
        <pc:sldMkLst>
          <pc:docMk/>
          <pc:sldMk cId="2255727250" sldId="6029"/>
        </pc:sldMkLst>
        <pc:spChg chg="mod">
          <ac:chgData name="DANIELS Maarten (DIGIT-EXT)" userId="S::maarten.daniels@ext.ec.europa.eu::57f753d3-6ee6-4ac1-b8be-78c2dea9345f" providerId="AD" clId="Web-{8ED8D609-9012-4E52-9B7B-80033E7B83C0}" dt="2023-09-11T15:21:08.841" v="10" actId="20577"/>
          <ac:spMkLst>
            <pc:docMk/>
            <pc:sldMk cId="2255727250" sldId="6029"/>
            <ac:spMk id="2" creationId="{00000000-0000-0000-0000-000000000000}"/>
          </ac:spMkLst>
        </pc:spChg>
        <pc:spChg chg="mod">
          <ac:chgData name="DANIELS Maarten (DIGIT-EXT)" userId="S::maarten.daniels@ext.ec.europa.eu::57f753d3-6ee6-4ac1-b8be-78c2dea9345f" providerId="AD" clId="Web-{8ED8D609-9012-4E52-9B7B-80033E7B83C0}" dt="2023-09-11T15:23:24.002" v="93" actId="20577"/>
          <ac:spMkLst>
            <pc:docMk/>
            <pc:sldMk cId="2255727250" sldId="6029"/>
            <ac:spMk id="26" creationId="{481624A7-C8D8-4F22-B4CD-101B877CAB37}"/>
          </ac:spMkLst>
        </pc:spChg>
      </pc:sldChg>
      <pc:sldChg chg="add replId">
        <pc:chgData name="DANIELS Maarten (DIGIT-EXT)" userId="S::maarten.daniels@ext.ec.europa.eu::57f753d3-6ee6-4ac1-b8be-78c2dea9345f" providerId="AD" clId="Web-{8ED8D609-9012-4E52-9B7B-80033E7B83C0}" dt="2023-09-11T15:20:58.638" v="3"/>
        <pc:sldMkLst>
          <pc:docMk/>
          <pc:sldMk cId="516955782" sldId="6031"/>
        </pc:sldMkLst>
      </pc:sldChg>
    </pc:docChg>
  </pc:docChgLst>
  <pc:docChgLst>
    <pc:chgData name="DANIELS Maarten (DIGIT-EXT)" userId="S::maarten.daniels@ext.ec.europa.eu::57f753d3-6ee6-4ac1-b8be-78c2dea9345f" providerId="AD" clId="Web-{6C8F9A93-4881-41EC-BE7B-94E260E45026}"/>
    <pc:docChg chg="modSld">
      <pc:chgData name="DANIELS Maarten (DIGIT-EXT)" userId="S::maarten.daniels@ext.ec.europa.eu::57f753d3-6ee6-4ac1-b8be-78c2dea9345f" providerId="AD" clId="Web-{6C8F9A93-4881-41EC-BE7B-94E260E45026}" dt="2023-09-12T12:36:29.096" v="28" actId="20577"/>
      <pc:docMkLst>
        <pc:docMk/>
      </pc:docMkLst>
      <pc:sldChg chg="modSp">
        <pc:chgData name="DANIELS Maarten (DIGIT-EXT)" userId="S::maarten.daniels@ext.ec.europa.eu::57f753d3-6ee6-4ac1-b8be-78c2dea9345f" providerId="AD" clId="Web-{6C8F9A93-4881-41EC-BE7B-94E260E45026}" dt="2023-09-12T12:36:29.096" v="28" actId="20577"/>
        <pc:sldMkLst>
          <pc:docMk/>
          <pc:sldMk cId="2484446638" sldId="6015"/>
        </pc:sldMkLst>
        <pc:spChg chg="mod">
          <ac:chgData name="DANIELS Maarten (DIGIT-EXT)" userId="S::maarten.daniels@ext.ec.europa.eu::57f753d3-6ee6-4ac1-b8be-78c2dea9345f" providerId="AD" clId="Web-{6C8F9A93-4881-41EC-BE7B-94E260E45026}" dt="2023-09-12T12:36:29.096" v="28" actId="20577"/>
          <ac:spMkLst>
            <pc:docMk/>
            <pc:sldMk cId="2484446638" sldId="6015"/>
            <ac:spMk id="26" creationId="{481624A7-C8D8-4F22-B4CD-101B877CAB37}"/>
          </ac:spMkLst>
        </pc:spChg>
      </pc:sldChg>
    </pc:docChg>
  </pc:docChgLst>
  <pc:docChgLst>
    <pc:chgData clId="Web-{8ED8D609-9012-4E52-9B7B-80033E7B83C0}"/>
    <pc:docChg chg="modSld">
      <pc:chgData name="" userId="" providerId="" clId="Web-{8ED8D609-9012-4E52-9B7B-80033E7B83C0}" dt="2023-09-11T15:20:24.980" v="1" actId="20577"/>
      <pc:docMkLst>
        <pc:docMk/>
      </pc:docMkLst>
      <pc:sldChg chg="modSp">
        <pc:chgData name="" userId="" providerId="" clId="Web-{8ED8D609-9012-4E52-9B7B-80033E7B83C0}" dt="2023-09-11T15:20:24.980" v="1" actId="20577"/>
        <pc:sldMkLst>
          <pc:docMk/>
          <pc:sldMk cId="4087991137" sldId="289"/>
        </pc:sldMkLst>
        <pc:spChg chg="mod">
          <ac:chgData name="" userId="" providerId="" clId="Web-{8ED8D609-9012-4E52-9B7B-80033E7B83C0}" dt="2023-09-11T15:20:24.980" v="1" actId="20577"/>
          <ac:spMkLst>
            <pc:docMk/>
            <pc:sldMk cId="4087991137" sldId="289"/>
            <ac:spMk id="2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CB86D-4378-43BD-B601-B61A644ECF3C}" type="datetimeFigureOut">
              <a:rPr lang="en-GB" smtClean="0"/>
              <a:t>12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4D596-55FE-462E-BA89-1D5807C2E7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227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0696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1244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369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632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3921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600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4630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907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641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241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187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34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178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716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04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882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4545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4993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94605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042410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74414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952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61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6192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4812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5343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488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3845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848618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45934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6211927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137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4345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0727526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189654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798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9154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3367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2354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0324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6239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3556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1784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2690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4007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21318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83458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268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17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8002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4033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15513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539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5258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608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82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4186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905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176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149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4063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3242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9378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5713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1790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787058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3671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7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710669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71192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959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2905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180315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311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49301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1357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870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23144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0412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254469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34874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3625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72419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6479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39636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6465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9182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4957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4308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12065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667603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679419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359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27509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080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0218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133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4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1677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0673794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75146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276780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921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948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5458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81551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4885229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3474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3406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7629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7757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1357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29086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6607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99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86019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37594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036393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0845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82618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61562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6039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87560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35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42353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758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35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3438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0033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5629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1942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51368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509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864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81980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27144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2138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52113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5610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8378ED-01C4-411D-A3F8-333DC5324A48}" type="datetime1">
              <a:rPr lang="en-US" smtClean="0"/>
              <a:t>9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3327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314622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2937298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7C2-FC1D-4CAA-8724-50C9007A397E}" type="datetime1">
              <a:rPr lang="en-US" smtClean="0"/>
              <a:t>9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73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9135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6331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8735079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0355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25670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04933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64184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63583" y="2961087"/>
            <a:ext cx="4692321" cy="6021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63583" y="3712535"/>
            <a:ext cx="4670541" cy="235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85800" y="-16852"/>
            <a:ext cx="0" cy="3964836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0997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0501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91613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99030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385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6309140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10018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8168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1121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396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2680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73169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0572350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234484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40435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229355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58112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978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87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47086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768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19133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333345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734752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2804913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3966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3518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693715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09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6460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28686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717392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420647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25866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8599262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531240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76000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079609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322987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15801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382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23181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78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6620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7300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137864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112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99572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5004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899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79859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4611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3083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0881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00077072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640940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116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0295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08760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218116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8703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54390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10363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14945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448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6355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0841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4671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3477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761530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1965750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0328265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48162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1707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8206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15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202215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484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7977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6121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8652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293608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667620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470737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7151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469665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491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847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86596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55992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2524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42931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527464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451845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1667768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8667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6680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45265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534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7956328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6529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9604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6172011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62684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7869486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45236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433480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2056032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9583507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8899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51083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233353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47013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446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98784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3733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0421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63465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70028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216261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09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86910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1300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138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55860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2515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3964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55134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19373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49518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98082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9398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19990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56526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86490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35027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91981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63750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8566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3139459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484218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22591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8A01-7A15-4D14-A8FA-2D418DF64D8C}" type="datetimeFigureOut">
              <a:rPr lang="en-US" smtClean="0"/>
              <a:t>9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66C-520B-457A-B1CD-A87A4E65AB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783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42389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699595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878462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33856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2316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39748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2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274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i="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0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600" b="0" i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600" b="0" i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360782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oints d</a:t>
            </a:r>
            <a:r>
              <a:rPr lang="fr-FR" sz="2000">
                <a:latin typeface="Calibri" panose="020F0502020204030204" pitchFamily="34" charset="0"/>
                <a:cs typeface="Calibri" panose="020F0502020204030204" pitchFamily="34" charset="0"/>
              </a:rPr>
              <a:t>’</a:t>
            </a:r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68566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9218A01-7A15-4D14-A8FA-2D418DF64D8C}" type="datetimeFigureOut">
              <a:rPr lang="en-US" smtClean="0"/>
              <a:pPr/>
              <a:t>9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0F2966C-520B-457A-B1CD-A87A4E65AB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04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295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31153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622625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07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712132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580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4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642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689916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37248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2058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572308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464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41087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910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682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09229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5252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2332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655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2574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205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63241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957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61009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536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5101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63841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76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262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446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61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162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4496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7819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1325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5286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4874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39316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541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1615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72585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9253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24241EE-894A-4944-8BD5-9FD380958B89}" type="datetime1">
              <a:rPr lang="en-US" smtClean="0"/>
              <a:t>9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7418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827120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8165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26D76-9C40-4C1A-B117-D55B5FD2C587}" type="datetime1">
              <a:rPr lang="en-US" smtClean="0"/>
              <a:t>9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328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0616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214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19883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1828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0146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504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842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4382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79020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her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/>
              <a:t>Click</a:t>
            </a:r>
            <a:r>
              <a:rPr lang="pt-PT" baseline="0"/>
              <a:t> the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05308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820430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chemeClr val="accent4"/>
                </a:solidFill>
                <a:latin typeface="EC Square Sans Pro"/>
              </a:rPr>
              <a:t>Authenticate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Locate evidence     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0C0468-FBFD-D341-9660-8CEB434721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94638" y="1209840"/>
            <a:ext cx="2811462" cy="4915467"/>
          </a:xfrm>
          <a:effectLst>
            <a:outerShdw blurRad="259689" dist="63500" dir="8100000" algn="tr" rotWithShape="0">
              <a:schemeClr val="bg1">
                <a:lumMod val="50000"/>
                <a:alpha val="50462"/>
              </a:schemeClr>
            </a:outerShdw>
          </a:effectLst>
        </p:spPr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548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c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    Locate evidenc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5161412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qu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050083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rd Matc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1017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spon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886782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368394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558629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Confirm</a:t>
            </a:r>
            <a:endParaRPr lang="nl-BE" sz="900" b="1" kern="1200">
              <a:solidFill>
                <a:schemeClr val="accent4"/>
              </a:solidFill>
              <a:latin typeface="EC Squar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7994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User request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18737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080881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557306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ED8F0-1F56-F04C-8E7C-1070EA50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575201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9701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46646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37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509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56483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53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474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57171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52768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36272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42171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16900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42836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7786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96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72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8.xml"/><Relationship Id="rId47" Type="http://schemas.openxmlformats.org/officeDocument/2006/relationships/slideLayout" Target="../slideLayouts/slideLayout133.xml"/><Relationship Id="rId50" Type="http://schemas.openxmlformats.org/officeDocument/2006/relationships/slideLayout" Target="../slideLayouts/slideLayout136.xml"/><Relationship Id="rId55" Type="http://schemas.openxmlformats.org/officeDocument/2006/relationships/slideLayout" Target="../slideLayouts/slideLayout141.xml"/><Relationship Id="rId63" Type="http://schemas.openxmlformats.org/officeDocument/2006/relationships/slideLayout" Target="../slideLayouts/slideLayout149.xml"/><Relationship Id="rId68" Type="http://schemas.openxmlformats.org/officeDocument/2006/relationships/image" Target="../media/image20.emf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3" Type="http://schemas.openxmlformats.org/officeDocument/2006/relationships/slideLayout" Target="../slideLayouts/slideLayout139.xml"/><Relationship Id="rId58" Type="http://schemas.openxmlformats.org/officeDocument/2006/relationships/slideLayout" Target="../slideLayouts/slideLayout144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slideLayout" Target="../slideLayouts/slideLayout134.xml"/><Relationship Id="rId56" Type="http://schemas.openxmlformats.org/officeDocument/2006/relationships/slideLayout" Target="../slideLayouts/slideLayout142.xml"/><Relationship Id="rId64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94.xml"/><Relationship Id="rId51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slideLayout" Target="../slideLayouts/slideLayout132.xml"/><Relationship Id="rId59" Type="http://schemas.openxmlformats.org/officeDocument/2006/relationships/slideLayout" Target="../slideLayouts/slideLayout145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106.xml"/><Relationship Id="rId41" Type="http://schemas.openxmlformats.org/officeDocument/2006/relationships/slideLayout" Target="../slideLayouts/slideLayout127.xml"/><Relationship Id="rId54" Type="http://schemas.openxmlformats.org/officeDocument/2006/relationships/slideLayout" Target="../slideLayouts/slideLayout140.xml"/><Relationship Id="rId6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slideLayout" Target="../slideLayouts/slideLayout135.xml"/><Relationship Id="rId57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52" Type="http://schemas.openxmlformats.org/officeDocument/2006/relationships/slideLayout" Target="../slideLayouts/slideLayout138.xml"/><Relationship Id="rId60" Type="http://schemas.openxmlformats.org/officeDocument/2006/relationships/slideLayout" Target="../slideLayouts/slideLayout146.xml"/><Relationship Id="rId65" Type="http://schemas.openxmlformats.org/officeDocument/2006/relationships/theme" Target="../theme/theme3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2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92.xml"/><Relationship Id="rId47" Type="http://schemas.openxmlformats.org/officeDocument/2006/relationships/slideLayout" Target="../slideLayouts/slideLayout197.xml"/><Relationship Id="rId63" Type="http://schemas.openxmlformats.org/officeDocument/2006/relationships/slideLayout" Target="../slideLayouts/slideLayout213.xml"/><Relationship Id="rId68" Type="http://schemas.openxmlformats.org/officeDocument/2006/relationships/oleObject" Target="../embeddings/oleObject2.bin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190.xml"/><Relationship Id="rId45" Type="http://schemas.openxmlformats.org/officeDocument/2006/relationships/slideLayout" Target="../slideLayouts/slideLayout195.xml"/><Relationship Id="rId53" Type="http://schemas.openxmlformats.org/officeDocument/2006/relationships/slideLayout" Target="../slideLayouts/slideLayout203.xml"/><Relationship Id="rId58" Type="http://schemas.openxmlformats.org/officeDocument/2006/relationships/slideLayout" Target="../slideLayouts/slideLayout208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55.xml"/><Relationship Id="rId61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193.xml"/><Relationship Id="rId48" Type="http://schemas.openxmlformats.org/officeDocument/2006/relationships/slideLayout" Target="../slideLayouts/slideLayout198.xml"/><Relationship Id="rId56" Type="http://schemas.openxmlformats.org/officeDocument/2006/relationships/slideLayout" Target="../slideLayouts/slideLayout206.xml"/><Relationship Id="rId64" Type="http://schemas.openxmlformats.org/officeDocument/2006/relationships/slideLayout" Target="../slideLayouts/slideLayout214.xml"/><Relationship Id="rId69" Type="http://schemas.openxmlformats.org/officeDocument/2006/relationships/image" Target="../media/image20.emf"/><Relationship Id="rId8" Type="http://schemas.openxmlformats.org/officeDocument/2006/relationships/slideLayout" Target="../slideLayouts/slideLayout158.xml"/><Relationship Id="rId51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196.xml"/><Relationship Id="rId59" Type="http://schemas.openxmlformats.org/officeDocument/2006/relationships/slideLayout" Target="../slideLayouts/slideLayout20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170.xml"/><Relationship Id="rId41" Type="http://schemas.openxmlformats.org/officeDocument/2006/relationships/slideLayout" Target="../slideLayouts/slideLayout191.xml"/><Relationship Id="rId54" Type="http://schemas.openxmlformats.org/officeDocument/2006/relationships/slideLayout" Target="../slideLayouts/slideLayout204.xml"/><Relationship Id="rId6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86.xml"/><Relationship Id="rId49" Type="http://schemas.openxmlformats.org/officeDocument/2006/relationships/slideLayout" Target="../slideLayouts/slideLayout199.xml"/><Relationship Id="rId57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81.xml"/><Relationship Id="rId44" Type="http://schemas.openxmlformats.org/officeDocument/2006/relationships/slideLayout" Target="../slideLayouts/slideLayout194.xml"/><Relationship Id="rId52" Type="http://schemas.openxmlformats.org/officeDocument/2006/relationships/slideLayout" Target="../slideLayouts/slideLayout202.xml"/><Relationship Id="rId60" Type="http://schemas.openxmlformats.org/officeDocument/2006/relationships/slideLayout" Target="../slideLayouts/slideLayout210.xml"/><Relationship Id="rId65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184.xml"/><Relationship Id="rId50" Type="http://schemas.openxmlformats.org/officeDocument/2006/relationships/slideLayout" Target="../slideLayouts/slideLayout200.xml"/><Relationship Id="rId55" Type="http://schemas.openxmlformats.org/officeDocument/2006/relationships/slideLayout" Target="../slideLayouts/slideLayout2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75.xml"/><Relationship Id="rId55" Type="http://schemas.openxmlformats.org/officeDocument/2006/relationships/slideLayout" Target="../slideLayouts/slideLayout280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3" Type="http://schemas.openxmlformats.org/officeDocument/2006/relationships/slideLayout" Target="../slideLayouts/slideLayout278.xml"/><Relationship Id="rId58" Type="http://schemas.openxmlformats.org/officeDocument/2006/relationships/slideLayout" Target="../slideLayouts/slideLayout283.xml"/><Relationship Id="rId66" Type="http://schemas.openxmlformats.org/officeDocument/2006/relationships/image" Target="../media/image20.emf"/><Relationship Id="rId5" Type="http://schemas.openxmlformats.org/officeDocument/2006/relationships/slideLayout" Target="../slideLayouts/slideLayout230.xml"/><Relationship Id="rId61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slideLayout" Target="../slideLayouts/slideLayout273.xml"/><Relationship Id="rId56" Type="http://schemas.openxmlformats.org/officeDocument/2006/relationships/slideLayout" Target="../slideLayouts/slideLayout281.xml"/><Relationship Id="rId64" Type="http://schemas.openxmlformats.org/officeDocument/2006/relationships/tags" Target="../tags/tag3.xml"/><Relationship Id="rId8" Type="http://schemas.openxmlformats.org/officeDocument/2006/relationships/slideLayout" Target="../slideLayouts/slideLayout233.xml"/><Relationship Id="rId51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slideLayout" Target="../slideLayouts/slideLayout271.xml"/><Relationship Id="rId59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45.xml"/><Relationship Id="rId41" Type="http://schemas.openxmlformats.org/officeDocument/2006/relationships/slideLayout" Target="../slideLayouts/slideLayout266.xml"/><Relationship Id="rId54" Type="http://schemas.openxmlformats.org/officeDocument/2006/relationships/slideLayout" Target="../slideLayouts/slideLayout279.xml"/><Relationship Id="rId62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slideLayout" Target="../slideLayouts/slideLayout274.xml"/><Relationship Id="rId57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35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52" Type="http://schemas.openxmlformats.org/officeDocument/2006/relationships/slideLayout" Target="../slideLayouts/slideLayout277.xml"/><Relationship Id="rId60" Type="http://schemas.openxmlformats.org/officeDocument/2006/relationships/slideLayout" Target="../slideLayouts/slideLayout285.xml"/><Relationship Id="rId65" Type="http://schemas.openxmlformats.org/officeDocument/2006/relationships/oleObject" Target="../embeddings/oleObject3.bin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6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26" Type="http://schemas.openxmlformats.org/officeDocument/2006/relationships/slideLayout" Target="../slideLayouts/slideLayout313.xml"/><Relationship Id="rId39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08.xml"/><Relationship Id="rId34" Type="http://schemas.openxmlformats.org/officeDocument/2006/relationships/slideLayout" Target="../slideLayouts/slideLayout321.xml"/><Relationship Id="rId42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334.xml"/><Relationship Id="rId50" Type="http://schemas.openxmlformats.org/officeDocument/2006/relationships/slideLayout" Target="../slideLayouts/slideLayout337.xml"/><Relationship Id="rId55" Type="http://schemas.openxmlformats.org/officeDocument/2006/relationships/slideLayout" Target="../slideLayouts/slideLayout342.xml"/><Relationship Id="rId6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298.xml"/><Relationship Id="rId24" Type="http://schemas.openxmlformats.org/officeDocument/2006/relationships/slideLayout" Target="../slideLayouts/slideLayout311.xml"/><Relationship Id="rId32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24.xml"/><Relationship Id="rId40" Type="http://schemas.openxmlformats.org/officeDocument/2006/relationships/slideLayout" Target="../slideLayouts/slideLayout327.xml"/><Relationship Id="rId45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0.xml"/><Relationship Id="rId58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292.xml"/><Relationship Id="rId61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01.xml"/><Relationship Id="rId22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314.xml"/><Relationship Id="rId30" Type="http://schemas.openxmlformats.org/officeDocument/2006/relationships/slideLayout" Target="../slideLayouts/slideLayout317.xml"/><Relationship Id="rId35" Type="http://schemas.openxmlformats.org/officeDocument/2006/relationships/slideLayout" Target="../slideLayouts/slideLayout322.xml"/><Relationship Id="rId43" Type="http://schemas.openxmlformats.org/officeDocument/2006/relationships/slideLayout" Target="../slideLayouts/slideLayout330.xml"/><Relationship Id="rId48" Type="http://schemas.openxmlformats.org/officeDocument/2006/relationships/slideLayout" Target="../slideLayouts/slideLayout335.xml"/><Relationship Id="rId56" Type="http://schemas.openxmlformats.org/officeDocument/2006/relationships/slideLayout" Target="../slideLayouts/slideLayout343.xml"/><Relationship Id="rId64" Type="http://schemas.openxmlformats.org/officeDocument/2006/relationships/theme" Target="../theme/theme7.xml"/><Relationship Id="rId8" Type="http://schemas.openxmlformats.org/officeDocument/2006/relationships/slideLayout" Target="../slideLayouts/slideLayout295.xml"/><Relationship Id="rId51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5" Type="http://schemas.openxmlformats.org/officeDocument/2006/relationships/slideLayout" Target="../slideLayouts/slideLayout312.xml"/><Relationship Id="rId33" Type="http://schemas.openxmlformats.org/officeDocument/2006/relationships/slideLayout" Target="../slideLayouts/slideLayout320.xml"/><Relationship Id="rId38" Type="http://schemas.openxmlformats.org/officeDocument/2006/relationships/slideLayout" Target="../slideLayouts/slideLayout325.xml"/><Relationship Id="rId46" Type="http://schemas.openxmlformats.org/officeDocument/2006/relationships/slideLayout" Target="../slideLayouts/slideLayout333.xml"/><Relationship Id="rId59" Type="http://schemas.openxmlformats.org/officeDocument/2006/relationships/slideLayout" Target="../slideLayouts/slideLayout346.xml"/><Relationship Id="rId2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28.xml"/><Relationship Id="rId54" Type="http://schemas.openxmlformats.org/officeDocument/2006/relationships/slideLayout" Target="../slideLayouts/slideLayout341.xml"/><Relationship Id="rId6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2.xml"/><Relationship Id="rId23" Type="http://schemas.openxmlformats.org/officeDocument/2006/relationships/slideLayout" Target="../slideLayouts/slideLayout310.xml"/><Relationship Id="rId28" Type="http://schemas.openxmlformats.org/officeDocument/2006/relationships/slideLayout" Target="../slideLayouts/slideLayout315.xml"/><Relationship Id="rId36" Type="http://schemas.openxmlformats.org/officeDocument/2006/relationships/slideLayout" Target="../slideLayouts/slideLayout323.xml"/><Relationship Id="rId49" Type="http://schemas.openxmlformats.org/officeDocument/2006/relationships/slideLayout" Target="../slideLayouts/slideLayout336.xml"/><Relationship Id="rId57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318.xml"/><Relationship Id="rId44" Type="http://schemas.openxmlformats.org/officeDocument/2006/relationships/slideLayout" Target="../slideLayouts/slideLayout331.xml"/><Relationship Id="rId52" Type="http://schemas.openxmlformats.org/officeDocument/2006/relationships/slideLayout" Target="../slideLayouts/slideLayout339.xml"/><Relationship Id="rId6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2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64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3928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779004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042" y="6043"/>
            <a:ext cx="1357162" cy="85998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F79809C-083B-4FB0-B512-02FF3BD9DAD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883" y="140725"/>
            <a:ext cx="1844660" cy="127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5864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95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327837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592" imgH="595" progId="TCLayout.ActiveDocument.1">
                  <p:embed/>
                </p:oleObj>
              </mc:Choice>
              <mc:Fallback>
                <p:oleObj name="think-cell Slide" r:id="rId67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1661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  <p:sldLayoutId id="2147483789" r:id="rId42"/>
    <p:sldLayoutId id="2147483790" r:id="rId43"/>
    <p:sldLayoutId id="2147483791" r:id="rId44"/>
    <p:sldLayoutId id="2147483792" r:id="rId45"/>
    <p:sldLayoutId id="2147483793" r:id="rId46"/>
    <p:sldLayoutId id="2147483794" r:id="rId47"/>
    <p:sldLayoutId id="2147483795" r:id="rId48"/>
    <p:sldLayoutId id="2147483796" r:id="rId49"/>
    <p:sldLayoutId id="2147483797" r:id="rId50"/>
    <p:sldLayoutId id="2147483798" r:id="rId51"/>
    <p:sldLayoutId id="2147483799" r:id="rId52"/>
    <p:sldLayoutId id="2147483800" r:id="rId53"/>
    <p:sldLayoutId id="2147483801" r:id="rId54"/>
    <p:sldLayoutId id="2147483802" r:id="rId55"/>
    <p:sldLayoutId id="2147483803" r:id="rId56"/>
    <p:sldLayoutId id="2147483804" r:id="rId57"/>
    <p:sldLayoutId id="2147483805" r:id="rId58"/>
    <p:sldLayoutId id="2147483854" r:id="rId59"/>
    <p:sldLayoutId id="2147483855" r:id="rId60"/>
    <p:sldLayoutId id="2147483926" r:id="rId61"/>
    <p:sldLayoutId id="2147483927" r:id="rId62"/>
    <p:sldLayoutId id="2147484016" r:id="rId63"/>
    <p:sldLayoutId id="2147483806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24B166-4E50-4F0A-9D05-016CAE1CC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592" imgH="595" progId="TCLayout.ActiveDocument.1">
                  <p:embed/>
                </p:oleObj>
              </mc:Choice>
              <mc:Fallback>
                <p:oleObj name="think-cell Slide" r:id="rId6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24B166-4E50-4F0A-9D05-016CAE1C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636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  <p:sldLayoutId id="2147483843" r:id="rId33"/>
    <p:sldLayoutId id="2147483844" r:id="rId34"/>
    <p:sldLayoutId id="2147483845" r:id="rId35"/>
    <p:sldLayoutId id="2147483846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4079" r:id="rId43"/>
    <p:sldLayoutId id="2147484080" r:id="rId44"/>
    <p:sldLayoutId id="2147484081" r:id="rId45"/>
    <p:sldLayoutId id="2147483856" r:id="rId46"/>
    <p:sldLayoutId id="2147483857" r:id="rId47"/>
    <p:sldLayoutId id="2147483858" r:id="rId48"/>
    <p:sldLayoutId id="2147483859" r:id="rId49"/>
    <p:sldLayoutId id="2147483860" r:id="rId50"/>
    <p:sldLayoutId id="2147483861" r:id="rId51"/>
    <p:sldLayoutId id="2147483862" r:id="rId52"/>
    <p:sldLayoutId id="2147483863" r:id="rId53"/>
    <p:sldLayoutId id="2147483864" r:id="rId54"/>
    <p:sldLayoutId id="2147483865" r:id="rId55"/>
    <p:sldLayoutId id="2147483866" r:id="rId56"/>
    <p:sldLayoutId id="2147483867" r:id="rId57"/>
    <p:sldLayoutId id="2147483868" r:id="rId58"/>
    <p:sldLayoutId id="2147483869" r:id="rId59"/>
    <p:sldLayoutId id="2147483870" r:id="rId60"/>
    <p:sldLayoutId id="2147483871" r:id="rId61"/>
    <p:sldLayoutId id="2147483872" r:id="rId62"/>
    <p:sldLayoutId id="2147483873" r:id="rId63"/>
    <p:sldLayoutId id="2147483874" r:id="rId64"/>
    <p:sldLayoutId id="214748387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46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0246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00376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592" imgH="595" progId="TCLayout.ActiveDocument.1">
                  <p:embed/>
                </p:oleObj>
              </mc:Choice>
              <mc:Fallback>
                <p:oleObj name="think-cell Slide" r:id="rId65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5068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4082" r:id="rId39"/>
    <p:sldLayoutId id="2147484083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4" r:id="rId47"/>
    <p:sldLayoutId id="2147483935" r:id="rId48"/>
    <p:sldLayoutId id="2147483936" r:id="rId49"/>
    <p:sldLayoutId id="2147483937" r:id="rId50"/>
    <p:sldLayoutId id="2147483938" r:id="rId51"/>
    <p:sldLayoutId id="2147483939" r:id="rId52"/>
    <p:sldLayoutId id="2147483940" r:id="rId53"/>
    <p:sldLayoutId id="2147483941" r:id="rId54"/>
    <p:sldLayoutId id="2147483942" r:id="rId55"/>
    <p:sldLayoutId id="2147483943" r:id="rId56"/>
    <p:sldLayoutId id="2147483944" r:id="rId57"/>
    <p:sldLayoutId id="2147483945" r:id="rId58"/>
    <p:sldLayoutId id="2147483946" r:id="rId59"/>
    <p:sldLayoutId id="2147483948" r:id="rId60"/>
    <p:sldLayoutId id="2147483949" r:id="rId61"/>
    <p:sldLayoutId id="2147483950" r:id="rId6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5696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84" r:id="rId57"/>
    <p:sldLayoutId id="2147484017" r:id="rId58"/>
    <p:sldLayoutId id="2147484018" r:id="rId59"/>
    <p:sldLayoutId id="2147484019" r:id="rId60"/>
    <p:sldLayoutId id="2147484020" r:id="rId61"/>
    <p:sldLayoutId id="2147484021" r:id="rId62"/>
    <p:sldLayoutId id="2147484022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17635"/>
            <a:ext cx="8291384" cy="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73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90357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562" y="0"/>
            <a:ext cx="1357162" cy="8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6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" TargetMode="Externa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2.xml"/><Relationship Id="rId6" Type="http://schemas.openxmlformats.org/officeDocument/2006/relationships/hyperlink" Target="https://projectathon.oots-common-services.eu/query/eb/rest/search?queryId=urn:fdc:oots:eb:ebxml-regrep:queries:requirements-by-procedure-and-jurisdiction&amp;procedure-id=V1&amp;country-code=SE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7.xml"/><Relationship Id="rId6" Type="http://schemas.openxmlformats.org/officeDocument/2006/relationships/hyperlink" Target="https://eceuropaeu.sharepoint.com/:f:/r/teams/GRP-SDGOOTSImplementersspace/Shared%20Documents/OOTS%20Projectathon%20-%20General%20channel/October%20Projectathon/October%20Projectathon%20Sample%20Test%20Data/Proposed_XML_and_XSL_for_TC10__human_readable_transformation?csf=1&amp;web=1&amp;e=yL7LFD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hyperlink" Target="https://sr.oots.tech.ec.europa.eu/evidencetypeclassifications/EU/42d48a82-0bd7-4c59-af18-b0d21dc21e7f" TargetMode="Externa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8.xml"/><Relationship Id="rId6" Type="http://schemas.openxmlformats.org/officeDocument/2006/relationships/hyperlink" Target="https://sr.oots.tech.ec.europa.eu/requirements/557d88c9-0dd9-4475-9769-d39c499d9416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EC-OOTS-SUPPORT@ec.europa.eu" TargetMode="Externa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hyperlink" Target="https://sr.oots.tech.europa.eu/evidencetypeclassifications/EU/d080dc98-46ae-4a00-a5f7-b54da000457a" TargetMode="Externa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1.xml"/><Relationship Id="rId6" Type="http://schemas.openxmlformats.org/officeDocument/2006/relationships/hyperlink" Target="https://sr.oots.tech.ec.europa.eu/requirements/1e0372b7-8343-4560-8f84-adb5eec410d6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125808" y="3030469"/>
            <a:ext cx="7679962" cy="1094522"/>
          </a:xfrm>
        </p:spPr>
        <p:txBody>
          <a:bodyPr anchor="ctr"/>
          <a:lstStyle/>
          <a:p>
            <a:pPr>
              <a:spcBef>
                <a:spcPts val="1800"/>
              </a:spcBef>
            </a:pPr>
            <a:r>
              <a:rPr lang="en-GB" sz="3200">
                <a:latin typeface="EC Square Sans Pro"/>
                <a:ea typeface="Verdana"/>
                <a:cs typeface="Verdana" panose="020B0604030504040204" pitchFamily="34" charset="0"/>
              </a:rPr>
              <a:t>OOTS October </a:t>
            </a:r>
            <a:r>
              <a:rPr lang="en-GB" sz="3200" err="1">
                <a:latin typeface="EC Square Sans Pro"/>
                <a:ea typeface="Verdana"/>
                <a:cs typeface="Verdana" panose="020B0604030504040204" pitchFamily="34" charset="0"/>
              </a:rPr>
              <a:t>Projectathon</a:t>
            </a:r>
            <a:r>
              <a:rPr lang="en-GB" sz="3200">
                <a:latin typeface="EC Square Sans Pro"/>
                <a:ea typeface="Verdana"/>
                <a:cs typeface="Verdana" panose="020B0604030504040204" pitchFamily="34" charset="0"/>
              </a:rPr>
              <a:t> Sample Test Data inf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4"/>
          <p:cNvSpPr txBox="1">
            <a:spLocks/>
          </p:cNvSpPr>
          <p:nvPr/>
        </p:nvSpPr>
        <p:spPr bwMode="auto">
          <a:xfrm>
            <a:off x="1034904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GROW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ternal Market, Industry, Entrepreneurship and SMEs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3092550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formatics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132428" y="4621056"/>
            <a:ext cx="7673342" cy="298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25808" y="5415707"/>
            <a:ext cx="7673342" cy="2985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2B17AF-438A-4546-96A5-3368CE727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904" y="1079860"/>
            <a:ext cx="2371487" cy="123485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76082D4-0F44-F978-607D-48AE39A3DC26}"/>
              </a:ext>
            </a:extLst>
          </p:cNvPr>
          <p:cNvSpPr txBox="1">
            <a:spLocks/>
          </p:cNvSpPr>
          <p:nvPr/>
        </p:nvSpPr>
        <p:spPr>
          <a:xfrm>
            <a:off x="1125808" y="3854785"/>
            <a:ext cx="6487104" cy="715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11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 – Example CS Queri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375611" cy="50591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0">
                <a:solidFill>
                  <a:srgbClr val="000000"/>
                </a:solidFill>
                <a:effectLst/>
                <a:latin typeface="EC Square Sans Pro"/>
              </a:rPr>
              <a:t>Example Queries </a:t>
            </a:r>
            <a:r>
              <a:rPr lang="en-US" sz="1600">
                <a:solidFill>
                  <a:srgbClr val="000000"/>
                </a:solidFill>
                <a:latin typeface="EC Square Sans Pro"/>
              </a:rPr>
              <a:t>using country SE: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212121"/>
                </a:solidFill>
                <a:latin typeface="EC Square Sans Pro"/>
              </a:rPr>
              <a:t>EB1</a:t>
            </a:r>
            <a:r>
              <a:rPr lang="en-US" sz="1300">
                <a:solidFill>
                  <a:srgbClr val="000000"/>
                </a:solidFill>
                <a:latin typeface="EC Square Sans Pro"/>
              </a:rPr>
              <a:t>: </a:t>
            </a:r>
            <a:r>
              <a:rPr lang="en-US" sz="1300" b="0" i="0">
                <a:solidFill>
                  <a:srgbClr val="212121"/>
                </a:solidFill>
                <a:effectLst/>
                <a:latin typeface="EC Square Sans Pro"/>
                <a:hlinkClick r:id="rId6"/>
              </a:rPr>
              <a:t>https://projectathon.oots-common-services.eu/query/eb/rest/search?queryId=urn:fdc:oots:eb:ebxml-regrep:queries:requirements-by-procedure-and-jurisdiction&amp;procedure-id=V1&amp;country-code=SE</a:t>
            </a:r>
            <a:endParaRPr lang="en-US" sz="1300" b="0" i="0">
              <a:solidFill>
                <a:srgbClr val="000000"/>
              </a:solidFill>
              <a:effectLst/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212121"/>
                </a:solidFill>
                <a:latin typeface="EC Square Sans Pro"/>
              </a:rPr>
              <a:t>EB2</a:t>
            </a:r>
            <a:r>
              <a:rPr lang="en-US" sz="1300">
                <a:solidFill>
                  <a:srgbClr val="000000"/>
                </a:solidFill>
                <a:latin typeface="EC Square Sans Pro"/>
              </a:rPr>
              <a:t>: </a:t>
            </a:r>
            <a:r>
              <a:rPr lang="en-US" sz="1300" b="0" i="0">
                <a:solidFill>
                  <a:srgbClr val="212121"/>
                </a:solidFill>
                <a:effectLst/>
                <a:latin typeface="EC Square Sans Pro"/>
              </a:rPr>
              <a:t>https://projectathon.oots-common-services.eu/query/eb/rest/search?queryId=urn:fdc:oots:eb:ebxml-regrep:queries:evidence-types-by-requirement-and-jurisdiction&amp;country-code=SE&amp;requirement-id=https://sr.oots.tech.ec.europa.eu/requirements/1e0372b7-8343-4560-8f84-adb5eec410d6</a:t>
            </a:r>
            <a:endParaRPr lang="en-US" sz="13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b="0" i="0">
                <a:solidFill>
                  <a:srgbClr val="212121"/>
                </a:solidFill>
                <a:effectLst/>
                <a:latin typeface="EC Square Sans Pro"/>
              </a:rPr>
              <a:t>DSD Dialogue 1: </a:t>
            </a:r>
            <a:r>
              <a:rPr lang="en-US" sz="1300" b="0" i="0">
                <a:solidFill>
                  <a:srgbClr val="212121"/>
                </a:solidFill>
                <a:effectLst/>
                <a:latin typeface="EC Square Sans Pro"/>
                <a:hlinkClick r:id="rId7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c.europa.eu/evidencetypeclassifications/EU/d080dc98-46ae-4a00-a5f7-b54da000457a</a:t>
            </a:r>
            <a:endParaRPr lang="en-US" sz="1300" b="0" i="0">
              <a:solidFill>
                <a:srgbClr val="212121"/>
              </a:solidFill>
              <a:effectLst/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212121"/>
                </a:solidFill>
                <a:latin typeface="EC Square Sans Pro"/>
              </a:rPr>
              <a:t>DSD Dialogue 2: </a:t>
            </a:r>
            <a:r>
              <a:rPr lang="en-US" sz="1300" b="0" i="0">
                <a:solidFill>
                  <a:srgbClr val="212121"/>
                </a:solidFill>
                <a:effectLst/>
                <a:latin typeface="EC Square Sans Pro"/>
                <a:hlinkClick r:id="rId8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c.europa.eu/evidencetypeclassifications/EU/d080dc98-46ae-4a00-a5f7-b54da000457a&amp;jurisdiction-admin-l2=SE1&amp;evidence-type-id=fa1fdb16-f383-45cb-9e8c-60efad4b253a&amp;jurisdiction-context-id=fab7e562-1c73-44e5-bcae-12f459822dd7</a:t>
            </a:r>
            <a:endParaRPr lang="en-US" sz="1300" b="0" i="0">
              <a:solidFill>
                <a:srgbClr val="212121"/>
              </a:solidFill>
              <a:effectLst/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b="0" i="0">
              <a:solidFill>
                <a:srgbClr val="212121"/>
              </a:solidFill>
              <a:effectLst/>
              <a:latin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917797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6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1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switch on the "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ossibilityForPreview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" flag from "false" to "true"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se a different identity that triggers reauthentication at EP side</a:t>
            </a:r>
            <a:endParaRPr lang="en-US" sz="2200">
              <a:solidFill>
                <a:srgbClr val="000000"/>
              </a:solidFill>
            </a:endParaRP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EC Square Sans Pro"/>
              </a:rPr>
              <a:t>Update &lt;</a:t>
            </a:r>
            <a:r>
              <a:rPr lang="en-US" sz="1600" err="1">
                <a:latin typeface="EC Square Sans Pro"/>
              </a:rPr>
              <a:t>sdg:GivenName</a:t>
            </a:r>
            <a:r>
              <a:rPr lang="en-US" sz="1600">
                <a:latin typeface="EC Square Sans Pro"/>
              </a:rPr>
              <a:t>&gt; from "Jack" to "Jonas" 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nlike TC01 where there is no preview, in TC06, the Evidence Provider will first respond with </a:t>
            </a:r>
            <a:r>
              <a:rPr lang="en-US" sz="2200">
                <a:latin typeface="EC Square Sans Pro"/>
              </a:rPr>
              <a:t>TC06_Response_1, containing the Preview link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n the Evidence Requester can make a new Evidence Request </a:t>
            </a:r>
            <a:r>
              <a:rPr lang="en-US" sz="2200">
                <a:latin typeface="EC Square Sans Pro"/>
              </a:rPr>
              <a:t>TC06_Request_2 and the Evidence Provider can respond with the actual evidence in TC06_Response_2 (after the user successfully completes/accepts the preview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248847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7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and reauthentication at two different EP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 used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solidFill>
                  <a:srgbClr val="000000"/>
                </a:solidFill>
                <a:latin typeface="EC Square Sans Pro"/>
              </a:rPr>
              <a:t>Use 2 requirements for the procedure, each leading to a different EP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EC Square Sans Pro"/>
              </a:rPr>
              <a:t>E.g. apply for a master study and require both a bachelor diploma and a secondary school diploma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 use the same identity as in TC01 to keep things simple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84150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8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rejection by user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 will reject the evidence during the preview at Evidence Provider side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8_Response_2 message is an Evidence Response, with an empty registry object list (instead of the actual evidence like in TC06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92996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9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 </a:t>
            </a:r>
            <a:r>
              <a:rPr lang="en-US" sz="3600">
                <a:solidFill>
                  <a:schemeClr val="tx2"/>
                </a:solidFill>
                <a:latin typeface="EC Square Sans Pro"/>
              </a:rPr>
              <a:t>preview error (closure or timeout)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 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 stays idle in the preview space at Evidence Provider side, resulting in a timeout without stating whether the evidence can be used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9_Response_2 message is an Evidence Response, with a </a:t>
            </a:r>
            <a:r>
              <a:rPr lang="en-US" sz="2200" err="1">
                <a:latin typeface="EC Square Sans Pro"/>
              </a:rPr>
              <a:t>QueryResponseError</a:t>
            </a:r>
            <a:r>
              <a:rPr lang="en-US" sz="2200">
                <a:latin typeface="EC Square Sans Pro"/>
              </a:rPr>
              <a:t> response with a </a:t>
            </a:r>
            <a:r>
              <a:rPr lang="en-US" sz="2200" err="1">
                <a:latin typeface="EC Square Sans Pro"/>
              </a:rPr>
              <a:t>TimeoutExceptionType</a:t>
            </a:r>
            <a:r>
              <a:rPr lang="en-US" sz="2200">
                <a:latin typeface="EC Square Sans Pro"/>
              </a:rPr>
              <a:t> (instead of the actual evidence like in TC06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8024497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10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including human readable transform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 dirty="0">
                <a:latin typeface="EC Square Sans Pro"/>
              </a:rPr>
              <a:t> 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we proposed to create a different data set (including EB and DSD data), that 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leads to an XML evidence instead of a PDF evidence (see next slide)</a:t>
            </a:r>
            <a:endParaRPr lang="en-US" sz="2200" dirty="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We provided a sample XML evidence and a related XSL to transform that XML to HTML in </a:t>
            </a:r>
            <a:r>
              <a:rPr lang="en-US" sz="2200" dirty="0">
                <a:latin typeface="EC Square Sans Pro"/>
                <a:hlinkClick r:id="rId6"/>
              </a:rPr>
              <a:t>this Teams folder</a:t>
            </a:r>
          </a:p>
          <a:p>
            <a:pPr lvl="2"/>
            <a:r>
              <a:rPr lang="en-US" sz="1800" dirty="0">
                <a:latin typeface="EC Square Sans Pro"/>
              </a:rPr>
              <a:t>example.xml which is the actual XML evidence that we propose would need to be returned for TC10</a:t>
            </a:r>
            <a:endParaRPr lang="en-US" dirty="0"/>
          </a:p>
          <a:p>
            <a:pPr lvl="2"/>
            <a:r>
              <a:rPr lang="en-US" sz="1800" dirty="0">
                <a:latin typeface="EC Square Sans Pro"/>
              </a:rPr>
              <a:t>elmo.xsl which is the stylesheet that can provide the human readable (html)</a:t>
            </a:r>
            <a:endParaRPr lang="en-US" dirty="0"/>
          </a:p>
          <a:p>
            <a:pPr lvl="2"/>
            <a:r>
              <a:rPr lang="en-US" sz="1800" dirty="0">
                <a:latin typeface="EC Square Sans Pro"/>
              </a:rPr>
              <a:t>schema.xsd which is here for support only as the </a:t>
            </a:r>
            <a:r>
              <a:rPr lang="en-US" sz="1800" dirty="0" err="1">
                <a:latin typeface="EC Square Sans Pro"/>
              </a:rPr>
              <a:t>xsd</a:t>
            </a:r>
            <a:r>
              <a:rPr lang="en-US" sz="1800" dirty="0">
                <a:latin typeface="EC Square Sans Pro"/>
              </a:rPr>
              <a:t> is not needed in the transformation</a:t>
            </a:r>
            <a:endParaRPr lang="en-US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EC Square Sans Pro"/>
              </a:rPr>
              <a:t>example.html which is here for support only as this is the expected output of the actual transformation</a:t>
            </a:r>
            <a:endParaRPr lang="en-US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We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 proposed to use a same identity as in TC01 to keep things simple</a:t>
            </a:r>
          </a:p>
        </p:txBody>
      </p:sp>
    </p:spTree>
    <p:extLst>
      <p:ext uri="{BB962C8B-B14F-4D97-AF65-F5344CB8AC3E}">
        <p14:creationId xmlns:p14="http://schemas.microsoft.com/office/powerpoint/2010/main" val="2484446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10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Structured XML Evidence Typ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415611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following values can be used for TC10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Procedure Id: T3 - (Requesting academic recognition of diplomas, certificates or other proof of studies or course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Requirement Id: 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  <a:hlinkClick r:id="rId6"/>
              </a:rPr>
              <a:t>https://sr.oots.tech.ec.europa.eu/requirements/557d88c9-0dd9-4475-9769-d39c499d9416</a:t>
            </a:r>
            <a:r>
              <a:rPr lang="en-US" sz="1400">
                <a:solidFill>
                  <a:srgbClr val="000000"/>
                </a:solidFill>
                <a:latin typeface="EC Square Sans Pro"/>
              </a:rPr>
              <a:t> - (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Proof of qualification level of tertiary education diploma/certificate/degree and its course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ET Classification: </a:t>
            </a:r>
            <a:r>
              <a:rPr lang="en-US" sz="1400">
                <a:solidFill>
                  <a:srgbClr val="000000"/>
                </a:solidFill>
                <a:latin typeface="EC Square Sans Pro"/>
                <a:hlinkClick r:id="rId7"/>
              </a:rPr>
              <a:t>https://sr.oots.tech.ec.europa.eu/evidencetypeclassifications/EU/42d48a82-0bd7-4c59-af18-b0d21dc21e7f</a:t>
            </a:r>
            <a:br>
              <a:rPr lang="en-US" sz="1400">
                <a:latin typeface="EC Square Sans Pro"/>
              </a:rPr>
            </a:br>
            <a:r>
              <a:rPr lang="en-US" sz="1400">
                <a:solidFill>
                  <a:srgbClr val="000000"/>
                </a:solidFill>
                <a:latin typeface="EC Square Sans Pro"/>
              </a:rPr>
              <a:t>- 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(</a:t>
            </a:r>
            <a:r>
              <a:rPr lang="en-US" sz="1400">
                <a:solidFill>
                  <a:srgbClr val="000000"/>
                </a:solidFill>
                <a:latin typeface="EC Square Sans Pro"/>
              </a:rPr>
              <a:t>EU-Wide Structured Degree Supplement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)</a:t>
            </a:r>
            <a:r>
              <a:rPr lang="en-US" sz="1400">
                <a:solidFill>
                  <a:srgbClr val="000000"/>
                </a:solidFill>
                <a:latin typeface="EC Square Sans Pro"/>
              </a:rPr>
              <a:t> </a:t>
            </a:r>
            <a:endParaRPr lang="en-US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485676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Further questions?</a:t>
            </a:r>
            <a:endParaRPr lang="en-US" sz="10000">
              <a:latin typeface="EC Square Sans Pro"/>
            </a:endParaRPr>
          </a:p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We’re here for you at</a:t>
            </a:r>
          </a:p>
          <a:p>
            <a:r>
              <a:rPr lang="en-US">
                <a:latin typeface="EC Square Sans Pro"/>
                <a:hlinkClick r:id="rId2"/>
              </a:rPr>
              <a:t>EC-OOTS-SUPPORT@ec.europa.eu</a:t>
            </a:r>
          </a:p>
        </p:txBody>
      </p:sp>
    </p:spTree>
    <p:extLst>
      <p:ext uri="{BB962C8B-B14F-4D97-AF65-F5344CB8AC3E}">
        <p14:creationId xmlns:p14="http://schemas.microsoft.com/office/powerpoint/2010/main" val="1331046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- statu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is dataset is available in the MS Teams 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rojectathon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channel</a:t>
            </a: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ose MSs that want to go further and create custom datasets can do so</a:t>
            </a:r>
            <a:endParaRPr lang="en-US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hey can then first focus on getting the baseline tests working during the </a:t>
            </a:r>
            <a:r>
              <a:rPr lang="en-US" sz="1800" err="1">
                <a:latin typeface="EC Square Sans Pro"/>
              </a:rPr>
              <a:t>Projectathon</a:t>
            </a:r>
            <a:endParaRPr lang="en-US" sz="18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n case there is time left and other test partners can support these additional datasets, more advanced testing can be conducted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f someone wants to make use of this option, please inform and involve u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n case there is any additional data or any other related </a:t>
            </a:r>
            <a:r>
              <a:rPr lang="en-US" sz="2200" err="1">
                <a:latin typeface="EC Square Sans Pro"/>
              </a:rPr>
              <a:t>Projectathon</a:t>
            </a:r>
            <a:r>
              <a:rPr lang="en-US" sz="2200">
                <a:latin typeface="EC Square Sans Pro"/>
              </a:rPr>
              <a:t> topic to be discussed, please let us know how we can help you!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122650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– changelog from June to October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pdated all values/attributes that contained </a:t>
            </a:r>
            <a:r>
              <a:rPr lang="en-US" sz="2200">
                <a:solidFill>
                  <a:srgbClr val="000000"/>
                </a:solidFill>
                <a:latin typeface="EC Square Sans Pro"/>
                <a:cs typeface="Arial"/>
              </a:rPr>
              <a:t>sr.oots.tech.europa.eu to sr.oots.tech</a:t>
            </a:r>
            <a:r>
              <a:rPr lang="en-US" sz="2200" b="1">
                <a:solidFill>
                  <a:srgbClr val="000000"/>
                </a:solidFill>
                <a:latin typeface="EC Square Sans Pro"/>
                <a:cs typeface="Arial"/>
              </a:rPr>
              <a:t>.ec.</a:t>
            </a:r>
            <a:r>
              <a:rPr lang="en-US" sz="2200">
                <a:solidFill>
                  <a:srgbClr val="000000"/>
                </a:solidFill>
                <a:latin typeface="EC Square Sans Pro"/>
                <a:cs typeface="Arial"/>
              </a:rPr>
              <a:t>europa.eu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Added data and guidelines for Test data variation for TC10 -</a:t>
            </a:r>
            <a:br>
              <a:rPr lang="en-US" sz="2200">
                <a:solidFill>
                  <a:srgbClr val="000000"/>
                </a:solidFill>
                <a:latin typeface="EC Square Sans Pro"/>
              </a:rPr>
            </a:br>
            <a:r>
              <a:rPr lang="en-US" sz="2200">
                <a:solidFill>
                  <a:srgbClr val="000000"/>
                </a:solidFill>
                <a:latin typeface="EC Square Sans Pro"/>
              </a:rPr>
              <a:t>Preview including human readable transformation</a:t>
            </a:r>
            <a:endParaRPr lang="en-US" sz="40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55727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– changelog from April to Jun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Person/Identifier has been removed for the June Projectathon as the element is optional in the OOTS flows according to the TDD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moved “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urn:uuid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:” prefix from UUID in 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EvidenceResponseIdentifier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Slot across Evidence Response sampl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moved irrelevant slots 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reviewLocation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, 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reviewDescription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and 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reviewMethod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from TC09_Response_2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Jurisdiction codes have been updated </a:t>
            </a:r>
            <a:r>
              <a:rPr lang="en-US" sz="2400">
                <a:solidFill>
                  <a:srgbClr val="000000"/>
                </a:solidFill>
                <a:latin typeface="EC Square Sans Pro"/>
              </a:rPr>
              <a:t>(SE) SE1, (DE) DE1, (EL) EL3, (CY)CY0, (SI) SI0, (IT) ITC, (LV) LV0, (LU) LU0, (AT) AT1, (FI) FI1, (NL) NL1, (PT) PT1</a:t>
            </a:r>
            <a:r>
              <a:rPr lang="en-US">
                <a:solidFill>
                  <a:srgbClr val="000000"/>
                </a:solidFill>
                <a:latin typeface="EC Square Sans Pro"/>
              </a:rPr>
              <a:t>, (</a:t>
            </a:r>
            <a:r>
              <a:rPr lang="en-US" sz="2400">
                <a:solidFill>
                  <a:srgbClr val="000000"/>
                </a:solidFill>
                <a:latin typeface="EC Square Sans Pro"/>
              </a:rPr>
              <a:t>EE) EE0, (IE) IE0, (RO) RO1, (HU) HU1, (LT) LT0, (CZ) CZ0, (HR) HR0, (MT) MT0, (FR) FR1, (BE) BE1, (PL) PL2, (SK) SK0, (ES) ES1</a:t>
            </a:r>
            <a:endParaRPr lang="en-US" sz="40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516955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baseline TC01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preview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defined a TC01 baseline that will be re-used as much a possible across the Test Cases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a pre-defined Identity that all Evidence Requesters and Evidence Providers need to support in the June Projectathon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Common Service data (EB and DSD data) that is pre-configured for all participan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sample covers both an Evidence Request and Evidence Respons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metadata of the Evidence is available in the Evidence Response message, you can choose a PDF file that you will attach as actual evidence (e.g. a PDF file with a flag of your country)</a:t>
            </a:r>
          </a:p>
        </p:txBody>
      </p:sp>
    </p:spTree>
    <p:extLst>
      <p:ext uri="{BB962C8B-B14F-4D97-AF65-F5344CB8AC3E}">
        <p14:creationId xmlns:p14="http://schemas.microsoft.com/office/powerpoint/2010/main" val="3019652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2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evidence match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only update the Identity data in the request to ensure there is no evidence match at EP side.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Update &lt;</a:t>
            </a:r>
            <a:r>
              <a:rPr lang="en-US" sz="2200" err="1">
                <a:latin typeface="EC Square Sans Pro"/>
              </a:rPr>
              <a:t>sdg:GivenName</a:t>
            </a:r>
            <a:r>
              <a:rPr lang="en-US" sz="2200">
                <a:latin typeface="EC Square Sans Pro"/>
              </a:rPr>
              <a:t>&gt; from "Jack" to "Jane" </a:t>
            </a:r>
            <a:endParaRPr lang="en-US">
              <a:latin typeface="EC Square Sans Pro"/>
            </a:endParaRP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also provide you with a sample Evidence Response (with an empty registry object list)</a:t>
            </a:r>
          </a:p>
        </p:txBody>
      </p:sp>
    </p:spTree>
    <p:extLst>
      <p:ext uri="{BB962C8B-B14F-4D97-AF65-F5344CB8AC3E}">
        <p14:creationId xmlns:p14="http://schemas.microsoft.com/office/powerpoint/2010/main" val="3815150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3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- Base Registry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 Evidence Response is different, due to the Base Registry error, so we will provide you with 2 alternative sample Evidence Responses containing an exception</a:t>
            </a:r>
            <a:endParaRPr lang="en-US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1_timeout_in_connection_to_base_registry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2_error_in_connection_to_base_registry</a:t>
            </a:r>
          </a:p>
        </p:txBody>
      </p:sp>
    </p:spTree>
    <p:extLst>
      <p:ext uri="{BB962C8B-B14F-4D97-AF65-F5344CB8AC3E}">
        <p14:creationId xmlns:p14="http://schemas.microsoft.com/office/powerpoint/2010/main" val="3037337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4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due to Access Point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re will be NO Evidence Response as the Access Point at Evidence Provider side is down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Resultingly the Access Point at Procedure Portal side generates an </a:t>
            </a:r>
            <a:r>
              <a:rPr lang="en-US" sz="2200" err="1">
                <a:latin typeface="EC Square Sans Pro"/>
              </a:rPr>
              <a:t>eDelivery</a:t>
            </a:r>
            <a:r>
              <a:rPr lang="en-US" sz="2200">
                <a:latin typeface="EC Square Sans Pro"/>
              </a:rPr>
              <a:t> error (from C2 to C1) to be sent to the Procedure Portal</a:t>
            </a: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7021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415611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following values can be used for the DSD Conversation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Procedure Id: V1 (Registering a change of Addres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Requirement Id: 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  <a:hlinkClick r:id="rId6"/>
              </a:rPr>
              <a:t>https://sr.oots.tech.ec.europa.eu/requirements/1e0372b7-8343-4560-8f84-adb5eec410d6</a:t>
            </a:r>
            <a:br>
              <a:rPr lang="en-US" sz="1400" b="0">
                <a:effectLst/>
                <a:latin typeface="EC Square Sans Pro"/>
              </a:rPr>
            </a:br>
            <a:r>
              <a:rPr lang="en-US" sz="1400">
                <a:solidFill>
                  <a:srgbClr val="000000"/>
                </a:solidFill>
                <a:latin typeface="EC Square Sans Pro"/>
              </a:rPr>
              <a:t>                            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 (Proof of Residence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ET Classification: 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  <a:hlinkClick r:id="rId7"/>
              </a:rPr>
              <a:t>https://sr.oots.tech.ec.europa.eu/evidencetypeclassifications/EU/d080dc98-46ae-4a00-a5f7-b54da000457a</a:t>
            </a:r>
            <a:br>
              <a:rPr lang="en-US" sz="1400" b="0">
                <a:effectLst/>
                <a:latin typeface="EC Square Sans Pro"/>
              </a:rPr>
            </a:b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	</a:t>
            </a:r>
            <a:r>
              <a:rPr lang="en-US" sz="1400">
                <a:solidFill>
                  <a:srgbClr val="000000"/>
                </a:solidFill>
                <a:latin typeface="EC Square Sans Pro"/>
              </a:rPr>
              <a:t>             </a:t>
            </a:r>
            <a:r>
              <a:rPr lang="en-US" sz="1400" b="0">
                <a:solidFill>
                  <a:srgbClr val="000000"/>
                </a:solidFill>
                <a:effectLst/>
                <a:latin typeface="EC Square Sans Pro"/>
              </a:rPr>
              <a:t> (EU-Wide Proof of Residence Certificate)</a:t>
            </a:r>
            <a:r>
              <a:rPr lang="en-US" sz="1400">
                <a:solidFill>
                  <a:srgbClr val="000000"/>
                </a:solidFill>
                <a:latin typeface="EC Square Sans Pro"/>
              </a:rPr>
              <a:t> </a:t>
            </a:r>
            <a:endParaRPr lang="en-US" sz="1400" b="0">
              <a:solidFill>
                <a:srgbClr val="000000"/>
              </a:solidFill>
              <a:effectLst/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Jurisdiction Codes: (SE) SE1, (DE) DE1, (EL) EL3, (CY)CY0, (SI) SI0, (IT) ITC, (LV) LV0, (LU) LU0, (AT) AT1, (FI) FI1, (NL) NL1, (PT) PT1, (EE) EE0, (IE) IE0, (RO) RO1, (HU) HU1, (LT) LT0, (CZ) CZ0, (HR) HR0, (MT) MT0, (FR) FR1, (BE) BE1, (PL) PL2, (SK) SK0, (ES) ES1</a:t>
            </a:r>
            <a:endParaRPr lang="en-US" sz="22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2139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10.xml><?xml version="1.0" encoding="utf-8"?>
<a:theme xmlns:a="http://schemas.openxmlformats.org/drawingml/2006/main" name="2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EF Master Template">
  <a:themeElements>
    <a:clrScheme name="Custom 1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183A66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5.xml><?xml version="1.0" encoding="utf-8"?>
<a:theme xmlns:a="http://schemas.openxmlformats.org/drawingml/2006/main" name="3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EC.Mobile)(IMI)(v2.01)" id="{C7CC8F2D-5B5E-A34E-A5E4-0F9021CE2229}" vid="{2C109B5B-CAA2-E643-8C35-DFB7794F3804}"/>
    </a:ext>
  </a:extLst>
</a:theme>
</file>

<file path=ppt/theme/theme6.xml><?xml version="1.0" encoding="utf-8"?>
<a:theme xmlns:a="http://schemas.openxmlformats.org/drawingml/2006/main" name="6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u">
  <a:themeElements>
    <a:clrScheme name="OOHUB">
      <a:dk1>
        <a:srgbClr val="001832"/>
      </a:dk1>
      <a:lt1>
        <a:srgbClr val="FFFFFF"/>
      </a:lt1>
      <a:dk2>
        <a:srgbClr val="3C5979"/>
      </a:dk2>
      <a:lt2>
        <a:srgbClr val="F4F3F2"/>
      </a:lt2>
      <a:accent1>
        <a:srgbClr val="832CB5"/>
      </a:accent1>
      <a:accent2>
        <a:srgbClr val="EC8FFF"/>
      </a:accent2>
      <a:accent3>
        <a:srgbClr val="FBC11D"/>
      </a:accent3>
      <a:accent4>
        <a:srgbClr val="004493"/>
      </a:accent4>
      <a:accent5>
        <a:srgbClr val="5D24A3"/>
      </a:accent5>
      <a:accent6>
        <a:srgbClr val="D234EE"/>
      </a:accent6>
      <a:hlink>
        <a:srgbClr val="832CB5"/>
      </a:hlink>
      <a:folHlink>
        <a:srgbClr val="5D24A3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_RESTREINT-3.03.potx" id="{1FE04B52-301F-40F7-9D2E-71ABD4A830D6}" vid="{E563548A-2E28-422C-A56C-D09867F00B9D}"/>
    </a:ext>
  </a:extLst>
</a:theme>
</file>

<file path=ppt/theme/theme9.xml><?xml version="1.0" encoding="utf-8"?>
<a:theme xmlns:a="http://schemas.openxmlformats.org/drawingml/2006/main" name="1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7B7BFF882854783B2AFEB81A9CCE9" ma:contentTypeVersion="13" ma:contentTypeDescription="Create a new document." ma:contentTypeScope="" ma:versionID="f3260bdf8794a3e7153eb72c34d717f0">
  <xsd:schema xmlns:xsd="http://www.w3.org/2001/XMLSchema" xmlns:xs="http://www.w3.org/2001/XMLSchema" xmlns:p="http://schemas.microsoft.com/office/2006/metadata/properties" xmlns:ns2="9a9637e9-1c11-4ee9-91b8-f060e3608fb2" xmlns:ns3="4af8c89d-4332-4d32-84a3-abf4120a8008" targetNamespace="http://schemas.microsoft.com/office/2006/metadata/properties" ma:root="true" ma:fieldsID="8bda151c105b1a0e8af73c2c8248c52f" ns2:_="" ns3:_="">
    <xsd:import namespace="9a9637e9-1c11-4ee9-91b8-f060e3608fb2"/>
    <xsd:import namespace="4af8c89d-4332-4d32-84a3-abf4120a80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637e9-1c11-4ee9-91b8-f060e3608f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8c89d-4332-4d32-84a3-abf4120a80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b2a03-4899-4a6a-9210-69166cdf2eeb}" ma:internalName="TaxCatchAll" ma:showField="CatchAllData" ma:web="4af8c89d-4332-4d32-84a3-abf4120a80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f8c89d-4332-4d32-84a3-abf4120a8008" xsi:nil="true"/>
    <lcf76f155ced4ddcb4097134ff3c332f xmlns="9a9637e9-1c11-4ee9-91b8-f060e3608fb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9743551-B162-4A55-A8BF-E8656C32842D}">
  <ds:schemaRefs>
    <ds:schemaRef ds:uri="4af8c89d-4332-4d32-84a3-abf4120a8008"/>
    <ds:schemaRef ds:uri="9a9637e9-1c11-4ee9-91b8-f060e3608f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9051D72-EA38-4C01-817E-ED935F13A5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816B0A-9B73-48F0-A750-B0B25DE89176}">
  <ds:schemaRefs>
    <ds:schemaRef ds:uri="4af8c89d-4332-4d32-84a3-abf4120a8008"/>
    <ds:schemaRef ds:uri="9a9637e9-1c11-4ee9-91b8-f060e3608f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7</Slides>
  <Notes>15</Notes>
  <HiddenSlides>0</HiddenSlide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1_CEF Master Template</vt:lpstr>
      <vt:lpstr>2_CEF Master Template</vt:lpstr>
      <vt:lpstr>4_CEF Master Template</vt:lpstr>
      <vt:lpstr>5_CEF Master Template</vt:lpstr>
      <vt:lpstr>3_CEF Master Template</vt:lpstr>
      <vt:lpstr>6_CEF Master Template</vt:lpstr>
      <vt:lpstr>CEF Master Template</vt:lpstr>
      <vt:lpstr>Contenu</vt:lpstr>
      <vt:lpstr>1_Contenu</vt:lpstr>
      <vt:lpstr>2_Contenu</vt:lpstr>
      <vt:lpstr>PowerPoint Presentation</vt:lpstr>
      <vt:lpstr>Test data sets - status</vt:lpstr>
      <vt:lpstr>Test data sets – changelog from June to October</vt:lpstr>
      <vt:lpstr>Test data sets – changelog from April to June</vt:lpstr>
      <vt:lpstr>Test data baseline TC01 - Basic evidence request without preview</vt:lpstr>
      <vt:lpstr>Test data variation for TC02 - Basic evidence request without evidence match</vt:lpstr>
      <vt:lpstr>Test response variation for TC03 - Evidence request error flow - Base Registry error</vt:lpstr>
      <vt:lpstr>Test response variation for TC04 - Evidence request error flow due to Access Point error</vt:lpstr>
      <vt:lpstr>Test data variation for TC05 - Additional DSD conversation</vt:lpstr>
      <vt:lpstr>Test data variation for TC05 - Additional DSD conversation – Example CS Queries</vt:lpstr>
      <vt:lpstr>Test data variation for TC06 - Evidence request with preview + reauthentication</vt:lpstr>
      <vt:lpstr>Test data variation for TC07 - Preview and reauthentication at two different EPs</vt:lpstr>
      <vt:lpstr>Test data variation for TC08 - Evidence request with preview rejection by user + reauthentication</vt:lpstr>
      <vt:lpstr>Test data variation for TC09 - Evidence request with preview error (closure or timeout) + reauthentication</vt:lpstr>
      <vt:lpstr>Test data variation for TC10 - Preview including human readable transformation</vt:lpstr>
      <vt:lpstr>Test data variation for TC10 - Structured XML Evidence Typ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mans, Alexander</dc:creator>
  <cp:revision>10</cp:revision>
  <dcterms:created xsi:type="dcterms:W3CDTF">2022-10-04T17:19:48Z</dcterms:created>
  <dcterms:modified xsi:type="dcterms:W3CDTF">2023-09-12T12:3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10-04T17:19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8ea12c7-cee7-485b-b63a-ff707976e532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697B7BFF882854783B2AFEB81A9CCE9</vt:lpwstr>
  </property>
  <property fmtid="{D5CDD505-2E9C-101B-9397-08002B2CF9AE}" pid="10" name="MediaServiceImageTags">
    <vt:lpwstr/>
  </property>
  <property fmtid="{D5CDD505-2E9C-101B-9397-08002B2CF9AE}" pid="11" name="MSIP_Label_6bd9ddd1-4d20-43f6-abfa-fc3c07406f94_Enabled">
    <vt:lpwstr>true</vt:lpwstr>
  </property>
  <property fmtid="{D5CDD505-2E9C-101B-9397-08002B2CF9AE}" pid="12" name="MSIP_Label_6bd9ddd1-4d20-43f6-abfa-fc3c07406f94_SetDate">
    <vt:lpwstr>2022-11-30T18:19:09Z</vt:lpwstr>
  </property>
  <property fmtid="{D5CDD505-2E9C-101B-9397-08002B2CF9AE}" pid="13" name="MSIP_Label_6bd9ddd1-4d20-43f6-abfa-fc3c07406f94_Method">
    <vt:lpwstr>Standard</vt:lpwstr>
  </property>
  <property fmtid="{D5CDD505-2E9C-101B-9397-08002B2CF9AE}" pid="14" name="MSIP_Label_6bd9ddd1-4d20-43f6-abfa-fc3c07406f94_Name">
    <vt:lpwstr>Commission Use</vt:lpwstr>
  </property>
  <property fmtid="{D5CDD505-2E9C-101B-9397-08002B2CF9AE}" pid="15" name="MSIP_Label_6bd9ddd1-4d20-43f6-abfa-fc3c07406f94_SiteId">
    <vt:lpwstr>b24c8b06-522c-46fe-9080-70926f8dddb1</vt:lpwstr>
  </property>
  <property fmtid="{D5CDD505-2E9C-101B-9397-08002B2CF9AE}" pid="16" name="MSIP_Label_6bd9ddd1-4d20-43f6-abfa-fc3c07406f94_ActionId">
    <vt:lpwstr>bb115c11-364c-4737-8610-2756aa676b7e</vt:lpwstr>
  </property>
  <property fmtid="{D5CDD505-2E9C-101B-9397-08002B2CF9AE}" pid="17" name="MSIP_Label_6bd9ddd1-4d20-43f6-abfa-fc3c07406f94_ContentBits">
    <vt:lpwstr>0</vt:lpwstr>
  </property>
</Properties>
</file>